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6" r:id="rId2"/>
    <p:sldId id="268" r:id="rId3"/>
    <p:sldId id="280" r:id="rId4"/>
    <p:sldId id="269" r:id="rId5"/>
    <p:sldId id="279" r:id="rId6"/>
    <p:sldId id="270" r:id="rId7"/>
    <p:sldId id="278" r:id="rId8"/>
    <p:sldId id="277" r:id="rId9"/>
    <p:sldId id="271" r:id="rId10"/>
    <p:sldId id="272" r:id="rId11"/>
    <p:sldId id="273" r:id="rId12"/>
    <p:sldId id="274" r:id="rId13"/>
    <p:sldId id="275" r:id="rId14"/>
    <p:sldId id="276" r:id="rId15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2" d="100"/>
          <a:sy n="102" d="100"/>
        </p:scale>
        <p:origin x="-23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식품위생법 위반업체수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2.6905077192855592E-2"/>
                  <c:y val="-0.12193109572971148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109</a:t>
                    </a:r>
                    <a:r>
                      <a:rPr lang="ko-KR" altLang="en-US" dirty="0" smtClean="0"/>
                      <a:t>개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1524061754284476E-2"/>
                  <c:y val="-9.1448321797283558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111</a:t>
                    </a:r>
                    <a:r>
                      <a:rPr lang="ko-KR" altLang="en-US" dirty="0" smtClean="0"/>
                      <a:t>개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6143046315713356E-2"/>
                  <c:y val="-0.12193109572971143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146</a:t>
                    </a:r>
                    <a:r>
                      <a:rPr lang="ko-KR" altLang="en-US" dirty="0" smtClean="0"/>
                      <a:t>개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1524061754284476E-2"/>
                  <c:y val="-9.9069015280390513E-2"/>
                </c:manualLayout>
              </c:layout>
              <c:tx>
                <c:rich>
                  <a:bodyPr/>
                  <a:lstStyle/>
                  <a:p>
                    <a:r>
                      <a:rPr lang="en-US" altLang="en-US" dirty="0" smtClean="0"/>
                      <a:t>160</a:t>
                    </a:r>
                    <a:r>
                      <a:rPr lang="ko-KR" altLang="en-US" dirty="0" smtClean="0"/>
                      <a:t>개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8429138947140071E-2"/>
                  <c:y val="-0.106689708763497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9</c:v>
                </c:pt>
                <c:pt idx="1">
                  <c:v>111</c:v>
                </c:pt>
                <c:pt idx="2">
                  <c:v>146</c:v>
                </c:pt>
                <c:pt idx="3">
                  <c:v>16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136896"/>
        <c:axId val="122421632"/>
      </c:lineChart>
      <c:catAx>
        <c:axId val="87136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22421632"/>
        <c:crosses val="autoZero"/>
        <c:auto val="1"/>
        <c:lblAlgn val="ctr"/>
        <c:lblOffset val="100"/>
        <c:noMultiLvlLbl val="0"/>
      </c:catAx>
      <c:valAx>
        <c:axId val="1224216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71368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171</a:t>
                    </a:r>
                    <a:r>
                      <a:rPr lang="ko-KR" altLang="en-US" smtClean="0"/>
                      <a:t>건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214</a:t>
                    </a:r>
                    <a:r>
                      <a:rPr lang="ko-KR" altLang="en-US" smtClean="0"/>
                      <a:t>건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mtClean="0"/>
                      <a:t>1156</a:t>
                    </a:r>
                    <a:r>
                      <a:rPr lang="ko-KR" altLang="en-US" smtClean="0"/>
                      <a:t>건</a:t>
                    </a:r>
                    <a:endParaRPr lang="en-US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>
                    <a:latin typeface="Adobe 고딕 Std B" pitchFamily="34" charset="-127"/>
                    <a:ea typeface="Adobe 고딕 Std B" pitchFamily="34" charset="-127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71</c:v>
                </c:pt>
                <c:pt idx="1">
                  <c:v>1214</c:v>
                </c:pt>
                <c:pt idx="2">
                  <c:v>11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213696"/>
        <c:axId val="123215232"/>
      </c:barChart>
      <c:catAx>
        <c:axId val="123213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dobe 고딕 Std B" pitchFamily="34" charset="-127"/>
                <a:ea typeface="Adobe 고딕 Std B" pitchFamily="34" charset="-127"/>
              </a:defRPr>
            </a:pPr>
            <a:endParaRPr lang="ko-KR"/>
          </a:p>
        </c:txPr>
        <c:crossAx val="123215232"/>
        <c:crosses val="autoZero"/>
        <c:auto val="1"/>
        <c:lblAlgn val="ctr"/>
        <c:lblOffset val="100"/>
        <c:noMultiLvlLbl val="0"/>
      </c:catAx>
      <c:valAx>
        <c:axId val="1232152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32136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958DEE-98D9-4572-B89E-757B22664CCF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C7262F-FAAE-40B0-AC3A-49578BA7DB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5795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574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262F-FAAE-40B0-AC3A-49578BA7DBA7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5549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B761-BB62-435E-AD12-92BA964CB6F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345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304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7457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89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00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9569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750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471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8466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350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32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5606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2206D-0AEB-4CD5-9069-376979FF9724}" type="datetimeFigureOut">
              <a:rPr lang="ko-KR" altLang="en-US" smtClean="0"/>
              <a:t>2015-09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DF62F-B313-48EB-9CA0-8CC1D2DB70A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17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terms.naver.com/entry.nhn?cid=768&amp;docId=1840360&amp;categoryId=1850" TargetMode="External"/><Relationship Id="rId11" Type="http://schemas.openxmlformats.org/officeDocument/2006/relationships/image" Target="../media/image28.png"/><Relationship Id="rId5" Type="http://schemas.openxmlformats.org/officeDocument/2006/relationships/image" Target="../media/image24.png"/><Relationship Id="rId10" Type="http://schemas.openxmlformats.org/officeDocument/2006/relationships/image" Target="../media/image27.png"/><Relationship Id="rId4" Type="http://schemas.openxmlformats.org/officeDocument/2006/relationships/hyperlink" Target="http://terms.naver.com/entry.nhn?cid=767&amp;docId=956621&amp;categoryId=1521" TargetMode="External"/><Relationship Id="rId9" Type="http://schemas.openxmlformats.org/officeDocument/2006/relationships/hyperlink" Target="http://terms.naver.com/entry.nhn?cid=769&amp;docId=956880&amp;categoryId=1843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terms.naver.com/entry.nhn?cid=769&amp;docId=956880&amp;categoryId=1843" TargetMode="External"/><Relationship Id="rId13" Type="http://schemas.openxmlformats.org/officeDocument/2006/relationships/image" Target="../media/image36.png"/><Relationship Id="rId18" Type="http://schemas.openxmlformats.org/officeDocument/2006/relationships/image" Target="../media/image37.png"/><Relationship Id="rId3" Type="http://schemas.openxmlformats.org/officeDocument/2006/relationships/image" Target="../media/image26.png"/><Relationship Id="rId21" Type="http://schemas.openxmlformats.org/officeDocument/2006/relationships/image" Target="../media/image39.png"/><Relationship Id="rId7" Type="http://schemas.openxmlformats.org/officeDocument/2006/relationships/image" Target="../media/image32.png"/><Relationship Id="rId12" Type="http://schemas.openxmlformats.org/officeDocument/2006/relationships/image" Target="../media/image35.pn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6" Type="http://schemas.openxmlformats.org/officeDocument/2006/relationships/hyperlink" Target="http://terms.naver.com/entry.nhn?cid=768&amp;docId=1840360&amp;categoryId=1850" TargetMode="External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11" Type="http://schemas.openxmlformats.org/officeDocument/2006/relationships/image" Target="../media/image34.png"/><Relationship Id="rId5" Type="http://schemas.openxmlformats.org/officeDocument/2006/relationships/image" Target="../media/image30.png"/><Relationship Id="rId15" Type="http://schemas.openxmlformats.org/officeDocument/2006/relationships/image" Target="../media/image24.png"/><Relationship Id="rId23" Type="http://schemas.openxmlformats.org/officeDocument/2006/relationships/image" Target="../media/image41.png"/><Relationship Id="rId10" Type="http://schemas.openxmlformats.org/officeDocument/2006/relationships/image" Target="../media/image33.png"/><Relationship Id="rId19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27.png"/><Relationship Id="rId14" Type="http://schemas.openxmlformats.org/officeDocument/2006/relationships/hyperlink" Target="http://terms.naver.com/entry.nhn?cid=767&amp;docId=956621&amp;categoryId=1521" TargetMode="External"/><Relationship Id="rId22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6463" cy="68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331640" y="2702629"/>
            <a:ext cx="630791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5400" dirty="0" smtClean="0">
                <a:solidFill>
                  <a:srgbClr val="0B538F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먹거리 안전 책임</a:t>
            </a:r>
            <a:endParaRPr lang="en-US" sz="5400" dirty="0">
              <a:solidFill>
                <a:srgbClr val="0B538F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 flipH="1">
            <a:off x="1396043" y="2420888"/>
            <a:ext cx="6475478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631685" y="1647524"/>
            <a:ext cx="539643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국민의 삶의 질 향상과</a:t>
            </a:r>
            <a:endParaRPr lang="en-US" altLang="ko-KR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2739" y="5346427"/>
            <a:ext cx="26043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국회의원 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이 명 수</a:t>
            </a:r>
            <a:endParaRPr lang="en-US" altLang="ko-KR" sz="24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44806" y="5773072"/>
            <a:ext cx="2160240" cy="2539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충남 아산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5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새누리당</a:t>
            </a:r>
            <a:r>
              <a:rPr lang="en-US" altLang="ko-KR" sz="16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en-US" sz="1650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1" name="Group 348"/>
          <p:cNvGrpSpPr/>
          <p:nvPr/>
        </p:nvGrpSpPr>
        <p:grpSpPr>
          <a:xfrm>
            <a:off x="178065" y="6370186"/>
            <a:ext cx="1453620" cy="288575"/>
            <a:chOff x="2077120" y="4859661"/>
            <a:chExt cx="1453620" cy="288575"/>
          </a:xfrm>
        </p:grpSpPr>
        <p:sp>
          <p:nvSpPr>
            <p:cNvPr id="12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2"/>
              </p:custDataLst>
            </p:nvPr>
          </p:nvSpPr>
          <p:spPr>
            <a:xfrm>
              <a:off x="2454533" y="4927004"/>
              <a:ext cx="107620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dirty="0" smtClean="0">
                  <a:solidFill>
                    <a:schemeClr val="bg1"/>
                  </a:solidFill>
                  <a:latin typeface="HY강B" panose="02030600000101010101" pitchFamily="18" charset="-127"/>
                  <a:ea typeface="HY강B" panose="02030600000101010101" pitchFamily="18" charset="-127"/>
                </a:rPr>
                <a:t>www.mslee.co.kr</a:t>
              </a:r>
              <a:endParaRPr lang="en-US" sz="1000" dirty="0">
                <a:solidFill>
                  <a:schemeClr val="bg1"/>
                </a:solidFill>
                <a:latin typeface="HY강B" panose="02030600000101010101" pitchFamily="18" charset="-127"/>
                <a:ea typeface="HY강B" panose="02030600000101010101" pitchFamily="18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843808" y="3624646"/>
            <a:ext cx="4238513" cy="545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8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식품의약품안전처</a:t>
            </a:r>
            <a:r>
              <a:rPr lang="ko-KR" alt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진단</a:t>
            </a:r>
            <a:endParaRPr lang="en-US" altLang="ko-KR" sz="2800" dirty="0" smtClean="0">
              <a:solidFill>
                <a:schemeClr val="tx1">
                  <a:lumMod val="50000"/>
                  <a:lumOff val="50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7" name="Picture 3" descr="C:\Users\assembly\Desktop\국감백서\책자표지\국회상징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990" y="5449354"/>
            <a:ext cx="285947" cy="286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632" y="303019"/>
            <a:ext cx="2906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015.9.14.(</a:t>
            </a:r>
            <a:r>
              <a:rPr lang="ko-KR" altLang="en-US" sz="9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월</a:t>
            </a:r>
            <a:r>
              <a:rPr lang="en-US" altLang="ko-KR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900" dirty="0" err="1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식품의약품안전처</a:t>
            </a:r>
            <a:r>
              <a:rPr lang="ko-KR" altLang="en-US" sz="900" dirty="0" smtClean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외 국정감사</a:t>
            </a:r>
            <a:endParaRPr lang="ko-KR" altLang="en-US" sz="9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" name="Picture 2" descr="C:\Users\assembly\Desktop\2015 국정감사\PPT\1차 기관 로고\1_0000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5937" y="1552507"/>
            <a:ext cx="761437" cy="836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966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4083" y="457632"/>
            <a:ext cx="8413795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어린이 중독사고① 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포장용기 안전조치 필요한 빙초산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</a:t>
            </a:r>
            <a:r>
              <a:rPr lang="ko-KR" altLang="en-US" sz="2300" dirty="0">
                <a:latin typeface="HY견고딕" panose="02030600000101010101" pitchFamily="18" charset="-127"/>
                <a:ea typeface="HY견고딕" panose="02030600000101010101" pitchFamily="18" charset="-127"/>
              </a:rPr>
              <a:t>제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1037" y="1124744"/>
            <a:ext cx="876876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현재의 식품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거에 비해 분야의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다변화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종류의 다양화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행정관리의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범위 대폭 확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변화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어린이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약품 중독사고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,00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6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세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취학前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어린이 사고가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80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차지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‘15, 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한국소비자원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200" spc="-150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─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위해품목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현황을 보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의약품 중독사고 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258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건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(25.7%)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살충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표백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세탁세제 등의 순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례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빙초산에 의한 어린이 안전사고 빈번 발생 보고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국소비자원 제기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무대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응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4966822" y="230018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284130" y="6287578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68" y="4326831"/>
            <a:ext cx="413385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65975" y="2970804"/>
            <a:ext cx="43872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빙초산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아동보호 조치 없는 일반용기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68" y="3263192"/>
            <a:ext cx="4133850" cy="102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 descr="http://file.newswire.co.kr/data/datafile2/thumb_big/2005/02/2005021511084460920.4542620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472" y="3227489"/>
            <a:ext cx="3756663" cy="2825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503543" y="2958713"/>
            <a:ext cx="43872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미국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빙초산을 유해물질로 구분하여 특별관리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23263" y="6276398"/>
            <a:ext cx="82318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아동의 눈 높이</a:t>
            </a:r>
            <a:r>
              <a:rPr lang="en-US" altLang="ko-KR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빙초산은 ‘물’로 인식 </a:t>
            </a:r>
            <a:r>
              <a:rPr lang="en-US" altLang="ko-KR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– 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허술한 포장용기 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안전대책</a:t>
            </a:r>
            <a:r>
              <a:rPr lang="ko-KR" altLang="en-US" sz="16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마련 등 </a:t>
            </a: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시급 </a:t>
            </a:r>
          </a:p>
        </p:txBody>
      </p:sp>
    </p:spTree>
    <p:extLst>
      <p:ext uri="{BB962C8B-B14F-4D97-AF65-F5344CB8AC3E}">
        <p14:creationId xmlns:p14="http://schemas.microsoft.com/office/powerpoint/2010/main" val="32602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41268" y="404662"/>
            <a:ext cx="8413795" cy="37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어린이 중독사고② </a:t>
            </a:r>
            <a:r>
              <a:rPr lang="en-US" altLang="ko-KR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어린이用 </a:t>
            </a:r>
            <a:r>
              <a:rPr lang="ko-KR" altLang="en-US" sz="23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구강청결제</a:t>
            </a:r>
            <a:r>
              <a:rPr lang="ko-KR" altLang="en-US" sz="23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성분문제」 </a:t>
            </a:r>
            <a:r>
              <a:rPr lang="ko-KR" altLang="en-US" sz="23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23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7323" y="1144570"/>
            <a:ext cx="8580552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구강청결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약사법」 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호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나목에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따른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의약외품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에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해당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구강청결제의 주요 성분 중 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다량 함유 위험원료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소프로필메칠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페놀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일명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살균소독제’</a:t>
            </a: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─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알레르기유발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환경호르몬 의심물질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피부 점막 자극성이 강해 부농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여드름</a:t>
            </a: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두드러기 등 발진 유발</a:t>
            </a:r>
          </a:p>
          <a:p>
            <a:pPr fontAlgn="base">
              <a:lnSpc>
                <a:spcPct val="150000"/>
              </a:lnSpc>
            </a:pPr>
            <a:endParaRPr lang="en-US" altLang="ko-KR" sz="3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성인용 및 어린이용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구강청결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원료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섭취 및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보관시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주의사항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품별 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각각 표기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’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─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[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본 주의사항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] “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마시면 안되고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어린이 손에 닿지 않는 곳에 보관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사용시 부모 지도 받아야</a:t>
            </a:r>
            <a:r>
              <a:rPr lang="en-US" altLang="ko-KR" sz="14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”</a:t>
            </a:r>
          </a:p>
          <a:p>
            <a:pPr fontAlgn="base">
              <a:lnSpc>
                <a:spcPct val="150000"/>
              </a:lnSpc>
            </a:pPr>
            <a:endParaRPr lang="en-US" altLang="ko-KR" sz="3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약학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다량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섭취時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구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복통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졸음 등 유발할 수 있고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중추신경계 중독증상 유발 가능” 경고</a:t>
            </a:r>
          </a:p>
        </p:txBody>
      </p:sp>
      <p:sp>
        <p:nvSpPr>
          <p:cNvPr id="9" name="오른쪽 화살표 8"/>
          <p:cNvSpPr/>
          <p:nvPr/>
        </p:nvSpPr>
        <p:spPr>
          <a:xfrm>
            <a:off x="6859826" y="164380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397004" y="619694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306" y="4181358"/>
            <a:ext cx="3842700" cy="1587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71656" y="3615028"/>
            <a:ext cx="4572000" cy="49244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err="1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구강청결제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-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아동보호 조치 없는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반용기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algn="ctr" fontAlgn="base"/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어린이 </a:t>
            </a:r>
            <a:r>
              <a:rPr lang="ko-KR" altLang="en-US" sz="13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구강청결제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– </a:t>
            </a:r>
            <a:r>
              <a:rPr lang="ko-KR" altLang="en-US" sz="13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위해성분이</a:t>
            </a:r>
            <a:r>
              <a:rPr lang="ko-KR" altLang="en-US" sz="1300" dirty="0">
                <a:latin typeface="휴먼고딕" panose="02010504000101010101" pitchFamily="2" charset="-127"/>
                <a:ea typeface="휴먼고딕" panose="02010504000101010101" pitchFamily="2" charset="-127"/>
              </a:rPr>
              <a:t> 더 큰 문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06130" y="6142390"/>
            <a:ext cx="82486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0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어린이 수준에 맞는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제품 내용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표기</a:t>
            </a:r>
            <a:r>
              <a:rPr lang="en-US" altLang="ko-KR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사후관리 등 전반적 개선 필요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764352"/>
              </p:ext>
            </p:extLst>
          </p:nvPr>
        </p:nvGraphicFramePr>
        <p:xfrm>
          <a:off x="4481893" y="4181358"/>
          <a:ext cx="4152155" cy="15876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5404"/>
                <a:gridCol w="679157"/>
                <a:gridCol w="671516"/>
                <a:gridCol w="692026"/>
                <a:gridCol w="692026"/>
                <a:gridCol w="692026"/>
              </a:tblGrid>
              <a:tr h="312201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A</a:t>
                      </a:r>
                      <a:r>
                        <a:rPr lang="ko-KR" altLang="en-US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</a:t>
                      </a:r>
                      <a:endParaRPr lang="ko-KR" altLang="en-US" sz="11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B</a:t>
                      </a:r>
                      <a:r>
                        <a:rPr lang="ko-KR" altLang="en-US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</a:t>
                      </a:r>
                      <a:endParaRPr lang="ko-KR" altLang="en-US" sz="11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C</a:t>
                      </a:r>
                      <a:r>
                        <a:rPr lang="ko-KR" altLang="en-US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</a:t>
                      </a:r>
                      <a:endParaRPr lang="ko-KR" altLang="en-US" sz="11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D</a:t>
                      </a:r>
                      <a:r>
                        <a:rPr lang="ko-KR" altLang="en-US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</a:t>
                      </a:r>
                      <a:endParaRPr lang="ko-KR" altLang="en-US" sz="11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E</a:t>
                      </a:r>
                      <a:r>
                        <a:rPr lang="ko-KR" altLang="en-US" sz="1100" b="1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</a:t>
                      </a:r>
                      <a:endParaRPr lang="ko-KR" altLang="en-US" sz="1100" b="1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6377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령</a:t>
                      </a:r>
                      <a:endParaRPr lang="en-US" altLang="ko-KR" sz="11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제한</a:t>
                      </a:r>
                      <a:endParaRPr lang="ko-KR" altLang="en-US" sz="110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</a:t>
                      </a:r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상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딸기맛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13</a:t>
                      </a:r>
                      <a:r>
                        <a:rPr lang="ko-KR" altLang="en-US" sz="1100" spc="-150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이상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용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연령제한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err="1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표기없음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7</a:t>
                      </a:r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상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부모지도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4</a:t>
                      </a:r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하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용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</a:tr>
              <a:tr h="6377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특별</a:t>
                      </a:r>
                      <a:endParaRPr lang="en-US" altLang="ko-KR" sz="110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주의사항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</a:t>
                      </a:r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하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의사처방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</a:t>
                      </a:r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하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부모지도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6</a:t>
                      </a:r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세 이하</a:t>
                      </a:r>
                      <a:endParaRPr lang="en-US" altLang="ko-KR" sz="1100" spc="-150" dirty="0" smtClean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  <a:p>
                      <a:pPr algn="ctr" latinLnBrk="1"/>
                      <a:r>
                        <a:rPr lang="ko-KR" altLang="en-US" sz="1100" spc="-150" dirty="0" smtClean="0">
                          <a:latin typeface="휴먼고딕" panose="02010504000101010101" pitchFamily="2" charset="-127"/>
                          <a:ea typeface="휴먼고딕" panose="02010504000101010101" pitchFamily="2" charset="-127"/>
                        </a:rPr>
                        <a:t>사용금지</a:t>
                      </a:r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spc="-150" dirty="0">
                        <a:latin typeface="휴먼고딕" panose="02010504000101010101" pitchFamily="2" charset="-127"/>
                        <a:ea typeface="휴먼고딕" panose="02010504000101010101" pitchFamily="2" charset="-127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4" name="직사각형 13"/>
          <p:cNvSpPr/>
          <p:nvPr/>
        </p:nvSpPr>
        <p:spPr>
          <a:xfrm>
            <a:off x="4283672" y="3615028"/>
            <a:ext cx="4572000" cy="2923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어린이용 </a:t>
            </a:r>
            <a:r>
              <a:rPr lang="ko-KR" altLang="en-US" sz="13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구강청결제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」 제조회사별 주의사항 표기내용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sp>
        <p:nvSpPr>
          <p:cNvPr id="11" name="오른쪽 화살표 10"/>
          <p:cNvSpPr/>
          <p:nvPr/>
        </p:nvSpPr>
        <p:spPr>
          <a:xfrm>
            <a:off x="5785697" y="240379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574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41268" y="404662"/>
            <a:ext cx="8413795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약품 관련 표시내용</a:t>
            </a:r>
            <a:r>
              <a:rPr lang="en-US" altLang="ko-KR" sz="2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2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특히 유효기간</a:t>
            </a:r>
            <a:r>
              <a:rPr lang="en-US" altLang="ko-KR" sz="20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 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표시 방법</a:t>
            </a:r>
            <a:endParaRPr lang="en-US" sz="28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7323" y="1144570"/>
            <a:ext cx="8580552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대부분의 의약품 유효기한 표시 부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찾기 어려운 부위에 표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보물찾기’식 표시 위치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多낱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포장의약품 경우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업체 경제적 부담 사유로 박스포장지에만 표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민안전은 ‘뒷전’</a:t>
            </a:r>
          </a:p>
          <a:p>
            <a:pPr fontAlgn="base">
              <a:lnSpc>
                <a:spcPct val="150000"/>
              </a:lnSpc>
            </a:pPr>
            <a:endParaRPr lang="en-US" altLang="ko-KR" sz="3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답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국민신문고 제안에 공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도적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선 없이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제약업계에 ‘권고’로 ‘개선’ 중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제약업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표시방법 변경 위해서는 별도 생산라인 구축 필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단기간 내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적용 곤란 입장</a:t>
            </a:r>
          </a:p>
        </p:txBody>
      </p:sp>
      <p:sp>
        <p:nvSpPr>
          <p:cNvPr id="9" name="오른쪽 화살표 8"/>
          <p:cNvSpPr/>
          <p:nvPr/>
        </p:nvSpPr>
        <p:spPr>
          <a:xfrm>
            <a:off x="5762973" y="132270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166993" y="618598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594393" y="6141919"/>
            <a:ext cx="8549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국민건강과 안전을 </a:t>
            </a:r>
            <a:r>
              <a:rPr lang="ko-KR" altLang="en-US" sz="20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최우선적으로한</a:t>
            </a:r>
            <a:r>
              <a:rPr lang="en-US" altLang="ko-KR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0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약품 유효기간 표시제도」 </a:t>
            </a:r>
            <a:r>
              <a:rPr lang="ko-KR" altLang="en-US" sz="20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</a:t>
            </a:r>
            <a:endParaRPr lang="ko-KR" alt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오른쪽 화살표 10"/>
          <p:cNvSpPr/>
          <p:nvPr/>
        </p:nvSpPr>
        <p:spPr>
          <a:xfrm>
            <a:off x="6408411" y="166195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3679608" y="206449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5524097" y="242240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3" name="_x181510600" descr="EMB00001884bcd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54" y="3252098"/>
            <a:ext cx="3581055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3075" name="_x181509080" descr="EMB00001884bcd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8811" y="3252098"/>
            <a:ext cx="3600821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1729686" y="2926755"/>
            <a:ext cx="516632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일부 </a:t>
            </a:r>
            <a:r>
              <a:rPr lang="ko-KR" altLang="en-US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제약업체</a:t>
            </a:r>
            <a:r>
              <a:rPr lang="en-US" altLang="ko-KR" sz="13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en-US" altLang="ko-KR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‘</a:t>
            </a:r>
            <a:r>
              <a:rPr lang="ko-KR" altLang="en-US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잘 보이지 않는</a:t>
            </a:r>
            <a:r>
              <a:rPr lang="en-US" altLang="ko-KR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’</a:t>
            </a:r>
            <a:r>
              <a:rPr lang="ko-KR" altLang="en-US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의약품 </a:t>
            </a:r>
            <a:r>
              <a:rPr lang="ko-KR" altLang="en-US" sz="13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유효기한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표시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388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290837" y="376365"/>
            <a:ext cx="8460431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20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입과자</a:t>
            </a:r>
            <a:r>
              <a:rPr lang="en-US" altLang="ko-KR" sz="220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등</a:t>
            </a:r>
            <a:r>
              <a:rPr lang="en-US" altLang="ko-KR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발암물질 타르색소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인공첨가물</a:t>
            </a:r>
            <a:r>
              <a:rPr lang="en-US" altLang="ko-KR" sz="16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포함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문제</a:t>
            </a:r>
            <a:endParaRPr lang="en-US" sz="22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39950" y="1059629"/>
            <a:ext cx="81115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 초콜릿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크래커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쿠기</a:t>
            </a:r>
            <a:r>
              <a:rPr lang="en-US" altLang="ko-KR" sz="16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    어린이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해물질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타르색소 등 포함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전체 </a:t>
            </a:r>
            <a:r>
              <a:rPr lang="en-US" altLang="ko-KR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20%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이상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-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적색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0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황색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4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황색 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호 → </a:t>
            </a:r>
            <a:r>
              <a:rPr lang="ko-KR" altLang="en-US" sz="14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「발암물질 타르색소」 대표사례</a:t>
            </a:r>
            <a:endParaRPr lang="en-US" altLang="ko-KR" sz="1400" b="1" dirty="0" smtClean="0">
              <a:solidFill>
                <a:srgbClr val="C00000"/>
              </a:solidFill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어린이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기호식품에 「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CODEX –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규제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EU –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금지」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600" b="1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국내 주요 업체 천연색소 사용</a:t>
            </a:r>
            <a:endParaRPr lang="en-US" altLang="ko-KR" sz="1600" b="1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수입과자 안전성 규제 및 타르색소에 대한 대처 소극적      </a:t>
            </a:r>
            <a:r>
              <a:rPr lang="ko-KR" altLang="en-US" sz="1600" b="1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대국민 홍보도 부실</a:t>
            </a:r>
            <a:endParaRPr lang="en-US" altLang="ko-KR" sz="1600" b="1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3598184" y="12452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6966621" y="124526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5292080" y="19168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오른쪽 화살표 23"/>
          <p:cNvSpPr/>
          <p:nvPr/>
        </p:nvSpPr>
        <p:spPr>
          <a:xfrm>
            <a:off x="6406277" y="227687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>
            <a:off x="191372" y="623731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422644" y="6200944"/>
            <a:ext cx="874565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학교 앞 불량식품」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및</a:t>
            </a:r>
            <a:r>
              <a:rPr lang="en-US" altLang="ko-KR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수입과자」 </a:t>
            </a: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안전성 관리 기준 마련 및 단속 등 강화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2" y="2852936"/>
            <a:ext cx="4378264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모서리가 둥근 직사각형 1"/>
          <p:cNvSpPr/>
          <p:nvPr/>
        </p:nvSpPr>
        <p:spPr>
          <a:xfrm>
            <a:off x="616597" y="5301208"/>
            <a:ext cx="4032448" cy="360040"/>
          </a:xfrm>
          <a:prstGeom prst="round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서울시내 초등학교 근</a:t>
            </a:r>
            <a:r>
              <a:rPr lang="ko-KR" altLang="en-US" sz="1200" b="1" dirty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처</a:t>
            </a:r>
            <a:r>
              <a:rPr lang="ko-KR" altLang="en-US" sz="1200" b="1" dirty="0" smtClean="0">
                <a:solidFill>
                  <a:schemeClr val="tx1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 문방구 판매 </a:t>
            </a:r>
            <a:r>
              <a:rPr lang="ko-KR" altLang="en-US" sz="12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불량식</a:t>
            </a:r>
            <a:r>
              <a:rPr lang="ko-KR" altLang="en-US" sz="1200" b="1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품</a:t>
            </a:r>
          </a:p>
        </p:txBody>
      </p:sp>
      <p:pic>
        <p:nvPicPr>
          <p:cNvPr id="35" name="Picture 6" descr="fla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435" y="2906502"/>
            <a:ext cx="351165" cy="26337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5536660" y="2868912"/>
            <a:ext cx="732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본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7" name="Picture 8" descr="fla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581" y="2906502"/>
            <a:ext cx="351165" cy="26337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7687986" y="2868912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스페인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39" name="그림 3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142" y="4990728"/>
            <a:ext cx="2041901" cy="981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" name="모서리가 둥근 직사각형 39"/>
          <p:cNvSpPr/>
          <p:nvPr/>
        </p:nvSpPr>
        <p:spPr>
          <a:xfrm>
            <a:off x="7350702" y="5316502"/>
            <a:ext cx="1544292" cy="611209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TextBox 40"/>
          <p:cNvSpPr txBox="1"/>
          <p:nvPr/>
        </p:nvSpPr>
        <p:spPr>
          <a:xfrm>
            <a:off x="7324284" y="5333565"/>
            <a:ext cx="157071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5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</a:p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이산화티타늄</a:t>
            </a:r>
            <a:endParaRPr lang="ko-KR" altLang="en-US" sz="1050" dirty="0"/>
          </a:p>
        </p:txBody>
      </p:sp>
      <p:pic>
        <p:nvPicPr>
          <p:cNvPr id="42" name="Picture 4" descr="fla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352" y="5088333"/>
            <a:ext cx="347638" cy="260728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5540133" y="5048097"/>
            <a:ext cx="732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국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769" y="3230364"/>
            <a:ext cx="1184907" cy="1512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8" name="모서리가 둥근 직사각형 47"/>
          <p:cNvSpPr/>
          <p:nvPr/>
        </p:nvSpPr>
        <p:spPr>
          <a:xfrm>
            <a:off x="5055245" y="4294228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TextBox 48"/>
          <p:cNvSpPr txBox="1"/>
          <p:nvPr/>
        </p:nvSpPr>
        <p:spPr>
          <a:xfrm>
            <a:off x="5054613" y="4322264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809" y="3120257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1" name="모서리가 둥근 직사각형 50"/>
          <p:cNvSpPr/>
          <p:nvPr/>
        </p:nvSpPr>
        <p:spPr>
          <a:xfrm>
            <a:off x="6787855" y="4028272"/>
            <a:ext cx="1158254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TextBox 51"/>
          <p:cNvSpPr txBox="1"/>
          <p:nvPr/>
        </p:nvSpPr>
        <p:spPr>
          <a:xfrm>
            <a:off x="6793391" y="4033723"/>
            <a:ext cx="114718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en-US" altLang="ko-KR" sz="1050" dirty="0" smtClean="0"/>
          </a:p>
          <a:p>
            <a:pPr algn="ctr"/>
            <a:r>
              <a:rPr lang="ko-KR" altLang="en-US" sz="1050" dirty="0" err="1" smtClean="0"/>
              <a:t>카르민색소</a:t>
            </a:r>
            <a:endParaRPr lang="en-US" altLang="ko-KR" sz="1050" dirty="0" smtClean="0"/>
          </a:p>
          <a:p>
            <a:pPr algn="ctr"/>
            <a:r>
              <a:rPr lang="ko-KR" altLang="en-US" sz="1050" dirty="0" err="1" smtClean="0"/>
              <a:t>이산화티타</a:t>
            </a:r>
            <a:r>
              <a:rPr lang="ko-KR" altLang="en-US" sz="1050" dirty="0" err="1"/>
              <a:t>늄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853581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47" y="1192585"/>
            <a:ext cx="2041901" cy="981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6558" y="1128006"/>
            <a:ext cx="1184907" cy="1512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09" y="3505558"/>
            <a:ext cx="2271731" cy="15854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23" y="5344360"/>
            <a:ext cx="748225" cy="1080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98" y="2276872"/>
            <a:ext cx="1795772" cy="1228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4" descr="fla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118" y="923964"/>
            <a:ext cx="347638" cy="260728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442899" y="883728"/>
            <a:ext cx="732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미국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341" y="1235029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932" y="2494514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6558" y="4597539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그림 2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341" y="3429000"/>
            <a:ext cx="1262201" cy="2243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4" name="Picture 6" descr="fla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454" y="923964"/>
            <a:ext cx="351165" cy="26337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4603679" y="886374"/>
            <a:ext cx="732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일본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056" name="Picture 8" descr="fla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290" y="921318"/>
            <a:ext cx="351165" cy="26337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7086695" y="883728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스페인</a:t>
            </a:r>
            <a:endParaRPr lang="ko-KR" altLang="en-US" sz="16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241" y="1403360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575" y="1428104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171" y="3019550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102" y="2999464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48" name="그림 204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78" y="4774906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49" name="그림 204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0931" y="4751931"/>
            <a:ext cx="974465" cy="17323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51" name="모서리가 둥근 직사각형 2050"/>
          <p:cNvSpPr/>
          <p:nvPr/>
        </p:nvSpPr>
        <p:spPr>
          <a:xfrm>
            <a:off x="1443532" y="1683085"/>
            <a:ext cx="1544292" cy="611209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55" name="TextBox 2054"/>
          <p:cNvSpPr txBox="1"/>
          <p:nvPr/>
        </p:nvSpPr>
        <p:spPr>
          <a:xfrm>
            <a:off x="1442899" y="1711122"/>
            <a:ext cx="157071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5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</a:p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이산화티타늄</a:t>
            </a:r>
            <a:endParaRPr lang="ko-KR" altLang="en-US" sz="1050" dirty="0"/>
          </a:p>
        </p:txBody>
      </p:sp>
      <p:sp>
        <p:nvSpPr>
          <p:cNvPr id="2" name="모서리가 둥근 직사각형 1"/>
          <p:cNvSpPr/>
          <p:nvPr/>
        </p:nvSpPr>
        <p:spPr>
          <a:xfrm>
            <a:off x="611560" y="188640"/>
            <a:ext cx="7848872" cy="4769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695307" y="282470"/>
            <a:ext cx="7765125" cy="346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수입과자</a:t>
            </a:r>
            <a:r>
              <a:rPr lang="en-US" altLang="ko-KR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,  </a:t>
            </a:r>
            <a:r>
              <a:rPr lang="ko-KR" alt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발암물질 타르색소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인공첨가물</a:t>
            </a:r>
            <a:r>
              <a:rPr lang="en-US" altLang="ko-KR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)  </a:t>
            </a:r>
            <a:r>
              <a:rPr lang="ko-KR" alt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등  첨가물  현황</a:t>
            </a:r>
            <a:endParaRPr lang="en-US" sz="2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1869499" y="3107705"/>
            <a:ext cx="772146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TextBox 32"/>
          <p:cNvSpPr txBox="1"/>
          <p:nvPr/>
        </p:nvSpPr>
        <p:spPr>
          <a:xfrm>
            <a:off x="1868866" y="3135741"/>
            <a:ext cx="7479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smtClean="0"/>
              <a:t>황색</a:t>
            </a:r>
            <a:r>
              <a:rPr lang="en-US" altLang="ko-KR" sz="1050" dirty="0" smtClean="0"/>
              <a:t>5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34" name="모서리가 둥근 직사각형 33"/>
          <p:cNvSpPr/>
          <p:nvPr/>
        </p:nvSpPr>
        <p:spPr>
          <a:xfrm>
            <a:off x="452628" y="4723895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TextBox 35"/>
          <p:cNvSpPr txBox="1"/>
          <p:nvPr/>
        </p:nvSpPr>
        <p:spPr>
          <a:xfrm>
            <a:off x="451996" y="4751931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카르민색소</a:t>
            </a:r>
            <a:endParaRPr lang="ko-KR" altLang="en-US" sz="1050" dirty="0"/>
          </a:p>
        </p:txBody>
      </p:sp>
      <p:sp>
        <p:nvSpPr>
          <p:cNvPr id="38" name="모서리가 둥근 직사각형 37"/>
          <p:cNvSpPr/>
          <p:nvPr/>
        </p:nvSpPr>
        <p:spPr>
          <a:xfrm>
            <a:off x="1289306" y="5547121"/>
            <a:ext cx="1627907" cy="706137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TextBox 38"/>
          <p:cNvSpPr txBox="1"/>
          <p:nvPr/>
        </p:nvSpPr>
        <p:spPr>
          <a:xfrm>
            <a:off x="1277608" y="5611648"/>
            <a:ext cx="16543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이산화티타늄</a:t>
            </a:r>
            <a:endParaRPr lang="en-US" altLang="ko-KR" sz="1050" dirty="0" smtClean="0"/>
          </a:p>
        </p:txBody>
      </p:sp>
      <p:sp>
        <p:nvSpPr>
          <p:cNvPr id="40" name="모서리가 둥근 직사각형 39"/>
          <p:cNvSpPr/>
          <p:nvPr/>
        </p:nvSpPr>
        <p:spPr>
          <a:xfrm>
            <a:off x="3292169" y="2358222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TextBox 40"/>
          <p:cNvSpPr txBox="1"/>
          <p:nvPr/>
        </p:nvSpPr>
        <p:spPr>
          <a:xfrm>
            <a:off x="3291537" y="2386258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2" name="모서리가 둥근 직사각형 41"/>
          <p:cNvSpPr/>
          <p:nvPr/>
        </p:nvSpPr>
        <p:spPr>
          <a:xfrm>
            <a:off x="4628042" y="3110426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TextBox 42"/>
          <p:cNvSpPr txBox="1"/>
          <p:nvPr/>
        </p:nvSpPr>
        <p:spPr>
          <a:xfrm>
            <a:off x="4627410" y="3138462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4" name="모서리가 둥근 직사각형 43"/>
          <p:cNvSpPr/>
          <p:nvPr/>
        </p:nvSpPr>
        <p:spPr>
          <a:xfrm>
            <a:off x="3292803" y="4398155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TextBox 44"/>
          <p:cNvSpPr txBox="1"/>
          <p:nvPr/>
        </p:nvSpPr>
        <p:spPr>
          <a:xfrm>
            <a:off x="3292171" y="4426191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6" name="모서리가 둥근 직사각형 45"/>
          <p:cNvSpPr/>
          <p:nvPr/>
        </p:nvSpPr>
        <p:spPr>
          <a:xfrm>
            <a:off x="4644322" y="5295094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TextBox 46"/>
          <p:cNvSpPr txBox="1"/>
          <p:nvPr/>
        </p:nvSpPr>
        <p:spPr>
          <a:xfrm>
            <a:off x="4643690" y="5323130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48" name="모서리가 둥근 직사각형 47"/>
          <p:cNvSpPr/>
          <p:nvPr/>
        </p:nvSpPr>
        <p:spPr>
          <a:xfrm>
            <a:off x="3349538" y="6225335"/>
            <a:ext cx="1416237" cy="30560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TextBox 48"/>
          <p:cNvSpPr txBox="1"/>
          <p:nvPr/>
        </p:nvSpPr>
        <p:spPr>
          <a:xfrm>
            <a:off x="3348906" y="6253371"/>
            <a:ext cx="14175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 </a:t>
            </a:r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50" name="모서리가 둥근 직사각형 49"/>
          <p:cNvSpPr/>
          <p:nvPr/>
        </p:nvSpPr>
        <p:spPr>
          <a:xfrm>
            <a:off x="6461562" y="2722203"/>
            <a:ext cx="887455" cy="44353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TextBox 50"/>
          <p:cNvSpPr txBox="1"/>
          <p:nvPr/>
        </p:nvSpPr>
        <p:spPr>
          <a:xfrm>
            <a:off x="6460931" y="2750239"/>
            <a:ext cx="8880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카르민색</a:t>
            </a:r>
            <a:r>
              <a:rPr lang="ko-KR" altLang="en-US" sz="1050" dirty="0" err="1"/>
              <a:t>소</a:t>
            </a:r>
            <a:endParaRPr lang="ko-KR" altLang="en-US" sz="1050" dirty="0"/>
          </a:p>
        </p:txBody>
      </p:sp>
      <p:sp>
        <p:nvSpPr>
          <p:cNvPr id="52" name="모서리가 둥근 직사각형 51"/>
          <p:cNvSpPr/>
          <p:nvPr/>
        </p:nvSpPr>
        <p:spPr>
          <a:xfrm>
            <a:off x="7538207" y="2555930"/>
            <a:ext cx="1158254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TextBox 52"/>
          <p:cNvSpPr txBox="1"/>
          <p:nvPr/>
        </p:nvSpPr>
        <p:spPr>
          <a:xfrm>
            <a:off x="7543743" y="2561381"/>
            <a:ext cx="114718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endParaRPr lang="en-US" altLang="ko-KR" sz="1050" dirty="0" smtClean="0"/>
          </a:p>
          <a:p>
            <a:pPr algn="ctr"/>
            <a:r>
              <a:rPr lang="ko-KR" altLang="en-US" sz="1050" dirty="0" err="1" smtClean="0"/>
              <a:t>카르민색소</a:t>
            </a:r>
            <a:endParaRPr lang="en-US" altLang="ko-KR" sz="1050" dirty="0" smtClean="0"/>
          </a:p>
          <a:p>
            <a:pPr algn="ctr"/>
            <a:r>
              <a:rPr lang="ko-KR" altLang="en-US" sz="1050" dirty="0" err="1" smtClean="0"/>
              <a:t>이산화티타</a:t>
            </a:r>
            <a:r>
              <a:rPr lang="ko-KR" altLang="en-US" sz="1050" dirty="0" err="1"/>
              <a:t>늄</a:t>
            </a:r>
            <a:endParaRPr lang="ko-KR" altLang="en-US" sz="1050" dirty="0"/>
          </a:p>
        </p:txBody>
      </p:sp>
      <p:sp>
        <p:nvSpPr>
          <p:cNvPr id="54" name="모서리가 둥근 직사각형 53"/>
          <p:cNvSpPr/>
          <p:nvPr/>
        </p:nvSpPr>
        <p:spPr>
          <a:xfrm>
            <a:off x="6385489" y="4329391"/>
            <a:ext cx="1158254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TextBox 54"/>
          <p:cNvSpPr txBox="1"/>
          <p:nvPr/>
        </p:nvSpPr>
        <p:spPr>
          <a:xfrm>
            <a:off x="6391025" y="4334842"/>
            <a:ext cx="114718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카르민색소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이산화티타</a:t>
            </a:r>
            <a:r>
              <a:rPr lang="ko-KR" altLang="en-US" sz="1050" dirty="0" err="1"/>
              <a:t>늄</a:t>
            </a:r>
            <a:endParaRPr lang="ko-KR" altLang="en-US" sz="1050" dirty="0"/>
          </a:p>
        </p:txBody>
      </p:sp>
      <p:sp>
        <p:nvSpPr>
          <p:cNvPr id="56" name="모서리가 둥근 직사각형 55"/>
          <p:cNvSpPr/>
          <p:nvPr/>
        </p:nvSpPr>
        <p:spPr>
          <a:xfrm>
            <a:off x="7645607" y="4329391"/>
            <a:ext cx="892862" cy="621026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TextBox 56"/>
          <p:cNvSpPr txBox="1"/>
          <p:nvPr/>
        </p:nvSpPr>
        <p:spPr>
          <a:xfrm>
            <a:off x="7651144" y="4334842"/>
            <a:ext cx="88732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황색</a:t>
            </a:r>
            <a:r>
              <a:rPr lang="en-US" altLang="ko-KR" sz="1050" dirty="0" smtClean="0"/>
              <a:t>4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적색</a:t>
            </a:r>
            <a:r>
              <a:rPr lang="en-US" altLang="ko-KR" sz="1050" dirty="0" smtClean="0"/>
              <a:t>40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2</a:t>
            </a:r>
            <a:r>
              <a:rPr lang="ko-KR" altLang="en-US" sz="1050" dirty="0" smtClean="0"/>
              <a:t>호</a:t>
            </a:r>
            <a:endParaRPr lang="ko-KR" altLang="en-US" sz="1050" dirty="0"/>
          </a:p>
        </p:txBody>
      </p:sp>
      <p:sp>
        <p:nvSpPr>
          <p:cNvPr id="58" name="모서리가 둥근 직사각형 57"/>
          <p:cNvSpPr/>
          <p:nvPr/>
        </p:nvSpPr>
        <p:spPr>
          <a:xfrm>
            <a:off x="6492865" y="6087405"/>
            <a:ext cx="887455" cy="44353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TextBox 58"/>
          <p:cNvSpPr txBox="1"/>
          <p:nvPr/>
        </p:nvSpPr>
        <p:spPr>
          <a:xfrm>
            <a:off x="6492234" y="6115441"/>
            <a:ext cx="8880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카르민색</a:t>
            </a:r>
            <a:r>
              <a:rPr lang="ko-KR" altLang="en-US" sz="1050" dirty="0" err="1"/>
              <a:t>소</a:t>
            </a:r>
            <a:endParaRPr lang="ko-KR" altLang="en-US" sz="1050" dirty="0"/>
          </a:p>
        </p:txBody>
      </p:sp>
      <p:sp>
        <p:nvSpPr>
          <p:cNvPr id="60" name="모서리가 둥근 직사각형 59"/>
          <p:cNvSpPr/>
          <p:nvPr/>
        </p:nvSpPr>
        <p:spPr>
          <a:xfrm>
            <a:off x="7630102" y="6088184"/>
            <a:ext cx="1066359" cy="443534"/>
          </a:xfrm>
          <a:prstGeom prst="roundRect">
            <a:avLst/>
          </a:prstGeom>
          <a:solidFill>
            <a:schemeClr val="bg1">
              <a:alpha val="86000"/>
            </a:schemeClr>
          </a:solidFill>
          <a:ln>
            <a:solidFill>
              <a:schemeClr val="tx1">
                <a:lumMod val="50000"/>
                <a:lumOff val="50000"/>
                <a:alpha val="5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TextBox 60"/>
          <p:cNvSpPr txBox="1"/>
          <p:nvPr/>
        </p:nvSpPr>
        <p:spPr>
          <a:xfrm>
            <a:off x="7655863" y="6101423"/>
            <a:ext cx="103551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dirty="0" smtClean="0"/>
              <a:t>청색</a:t>
            </a:r>
            <a:r>
              <a:rPr lang="en-US" altLang="ko-KR" sz="1050" dirty="0" smtClean="0"/>
              <a:t>1</a:t>
            </a:r>
            <a:r>
              <a:rPr lang="ko-KR" altLang="en-US" sz="1050" dirty="0" smtClean="0"/>
              <a:t>호</a:t>
            </a:r>
            <a:r>
              <a:rPr lang="en-US" altLang="ko-KR" sz="1050" dirty="0" smtClean="0"/>
              <a:t>,</a:t>
            </a:r>
          </a:p>
          <a:p>
            <a:pPr algn="ctr"/>
            <a:r>
              <a:rPr lang="ko-KR" altLang="en-US" sz="1050" dirty="0" err="1" smtClean="0"/>
              <a:t>이산화티타늄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286388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92210" y="563668"/>
            <a:ext cx="8413795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8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백수오</a:t>
            </a:r>
            <a:r>
              <a:rPr lang="ko-KR" altLang="en-US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사태 이후</a:t>
            </a:r>
            <a:r>
              <a:rPr lang="en-US" altLang="ko-KR" sz="28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</a:t>
            </a:r>
            <a:r>
              <a:rPr lang="ko-KR" altLang="en-US" sz="2800" dirty="0" err="1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식약처</a:t>
            </a:r>
            <a:r>
              <a:rPr lang="ko-KR" altLang="en-US" sz="28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위상과 여론 평가」</a:t>
            </a:r>
            <a:endParaRPr lang="en-US" sz="28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7642" y="1303574"/>
            <a:ext cx="88488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난해 對국민 먹거리안전도 조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불안’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45.2%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안전’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4%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서울시민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가장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불안</a:t>
            </a:r>
            <a:r>
              <a:rPr lang="en-US" altLang="ko-KR" sz="1200" spc="-150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en-US" altLang="ko-KR" sz="12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49.5%) &lt;</a:t>
            </a:r>
            <a:r>
              <a:rPr lang="ko-KR" altLang="en-US" sz="12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통계청</a:t>
            </a:r>
            <a:r>
              <a:rPr lang="en-US" altLang="ko-KR" sz="1200" spc="-150" dirty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건강기능식품 등급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별인정 심사기준 및 절차 ‘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깜깜이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’ 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예견된 ‘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품사고’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건기식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前 심사위원장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백수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사태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)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빙산의 일각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대로라면 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의 사태도 시간문제”라고 지적 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백수오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사태 이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「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위상 및 인식조사」 실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내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평가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“잘하고 있다”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여전한 안일한 인식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오른쪽 화살표 5"/>
          <p:cNvSpPr/>
          <p:nvPr/>
        </p:nvSpPr>
        <p:spPr>
          <a:xfrm>
            <a:off x="5739196" y="146257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832692" y="6069206"/>
            <a:ext cx="8248648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각종 인</a:t>
            </a:r>
            <a:r>
              <a:rPr lang="en-US" altLang="ko-KR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허가 투명성</a:t>
            </a:r>
            <a:r>
              <a:rPr lang="en-US" altLang="ko-KR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 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공정성 강</a:t>
            </a:r>
            <a:r>
              <a:rPr lang="ko-KR" altLang="en-US" sz="19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화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」</a:t>
            </a:r>
            <a:r>
              <a:rPr lang="ko-KR" altLang="en-US" sz="1900" spc="-150" dirty="0">
                <a:latin typeface="HY견고딕" panose="02030600000101010101" pitchFamily="18" charset="-127"/>
                <a:ea typeface="HY견고딕" panose="02030600000101010101" pitchFamily="18" charset="-127"/>
              </a:rPr>
              <a:t>와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1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현장중심  식품안전대책」</a:t>
            </a:r>
            <a:r>
              <a:rPr lang="ko-KR" altLang="en-US" sz="1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촉진</a:t>
            </a:r>
            <a:endParaRPr lang="ko-KR" altLang="en-US" sz="19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467595" y="616712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 descr="http://img.sbs.co.kr/newimg/news/20150430/200833648_7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96" y="3212976"/>
            <a:ext cx="3993639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kr.whowired.com/news/photo/201504/408172_8637_322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347" y="3212976"/>
            <a:ext cx="3749724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오른쪽 화살표 12"/>
          <p:cNvSpPr/>
          <p:nvPr/>
        </p:nvSpPr>
        <p:spPr>
          <a:xfrm>
            <a:off x="5372218" y="181286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6884386" y="25078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4717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92210" y="563668"/>
            <a:ext cx="841379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7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백수오</a:t>
            </a:r>
            <a:r>
              <a:rPr lang="ko-KR" altLang="en-US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사태 이후</a:t>
            </a:r>
            <a:r>
              <a:rPr lang="en-US" altLang="ko-KR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건강기능식품 후속 대책」 </a:t>
            </a:r>
            <a:r>
              <a:rPr lang="ko-KR" altLang="en-US" sz="2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27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7642" y="1303574"/>
            <a:ext cx="8848854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건기식에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한 對국민 신뢰도 저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판매량 급감 상태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err="1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약처와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업계의 반성과 개선 노력 필요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백수오사태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발생 당시에 드러난 건강기능식품 제도 및 행정추진상의 문제점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①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국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내외 및 국민건강에 중대한 </a:t>
            </a: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위해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발생時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생산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판매의 일시 중단 등 「긴급대응제도」 부재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②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개별인정 심사 및 절차 </a:t>
            </a:r>
            <a:r>
              <a:rPr lang="ko-KR" altLang="en-US" sz="14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이행時</a:t>
            </a:r>
            <a:r>
              <a:rPr lang="en-US" altLang="ko-KR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심의委의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의견과 다른 「행정적 개입과 결정」의 과다함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③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관련협회에 「</a:t>
            </a:r>
            <a:r>
              <a:rPr lang="ko-KR" altLang="en-US" sz="140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건기식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 표시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광고 사전심의 권한」 관련협회에 전적으로 위탁한 관리소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④ 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제조사에 기능성</a:t>
            </a:r>
            <a:r>
              <a:rPr lang="en-US" altLang="ko-KR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400" dirty="0">
                <a:latin typeface="휴먼고딕" panose="02010504000101010101" pitchFamily="2" charset="-127"/>
                <a:ea typeface="휴먼고딕" panose="02010504000101010101" pitchFamily="2" charset="-127"/>
              </a:rPr>
              <a:t>인체적용시험 등을 전가하여 「부실한 제품화 유도」의 원인을 제공하였다는 점 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4849004" y="147788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526618" y="6187638"/>
            <a:ext cx="8543938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긴급대응제도 도입</a:t>
            </a:r>
            <a:r>
              <a:rPr lang="en-US" altLang="ko-KR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17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안전성 및 기능성 유지 시험지원센터 설립 등 법률안 개정」</a:t>
            </a:r>
            <a:r>
              <a:rPr lang="ko-KR" altLang="en-US" sz="17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</a:t>
            </a:r>
            <a:endParaRPr lang="ko-KR" altLang="en-US" sz="17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201076" y="627401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53" y="4221088"/>
            <a:ext cx="4372445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028" y="3565004"/>
            <a:ext cx="3559952" cy="239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142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5944" y="636576"/>
            <a:ext cx="836452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현실화 된 기후변화</a:t>
            </a:r>
            <a:r>
              <a:rPr lang="en-US" altLang="ko-KR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7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식품안전관리 대응문제」 </a:t>
            </a:r>
            <a:r>
              <a:rPr lang="ko-KR" altLang="en-US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endParaRPr lang="en-US" sz="27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9736" y="1698384"/>
            <a:ext cx="8580552" cy="3347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후변화대응 식품안전관리 연구사업단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‘10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∼‘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통해 체계적 연구 개발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연구비 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10</a:t>
            </a:r>
            <a:r>
              <a:rPr lang="ko-KR" altLang="en-US" sz="1200" spc="-150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억원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완료 입장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우리나라의 사회경제적 손실 年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2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원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이상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‘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14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년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&gt; 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문제는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품안전 분야의 손실이 가장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우려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특히</a:t>
            </a:r>
            <a:r>
              <a:rPr lang="en-US" altLang="ko-KR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「식중독」으로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한 사회경제적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손실이 가장 클 것으로 분석       </a:t>
            </a:r>
            <a:r>
              <a:rPr lang="ko-KR" altLang="en-US" sz="1500" spc="-15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발생율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∼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0%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증가 예측 </a:t>
            </a:r>
            <a:endParaRPr lang="en-US" altLang="ko-KR" sz="1500" spc="-15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향후 주요 대책 및 검토 요구사항</a:t>
            </a:r>
            <a:r>
              <a:rPr lang="en-US" altLang="ko-KR" sz="16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기후변화문제는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점진적 발생하나</a:t>
            </a:r>
            <a:r>
              <a:rPr lang="en-US" altLang="ko-KR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파급효과는 크므로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對국민홍보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등 사전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예방강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화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② 세균성 식중독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살모넬라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장염비브리오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캠필러박터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장출혈성대장균</a:t>
            </a:r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등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급증에 대비한 대책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철저</a:t>
            </a:r>
            <a:endParaRPr lang="ko-KR" altLang="en-US" sz="1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「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후변화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민감식품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」에 대한 곰팡이독소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고추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200" b="1" dirty="0" err="1">
                <a:latin typeface="휴먼고딕" panose="02010504000101010101" pitchFamily="2" charset="-127"/>
                <a:ea typeface="휴먼고딕" panose="02010504000101010101" pitchFamily="2" charset="-127"/>
              </a:rPr>
              <a:t>오크라톡신</a:t>
            </a:r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A)</a:t>
            </a:r>
            <a:r>
              <a:rPr lang="ko-KR" altLang="en-US" sz="12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기준 </a:t>
            </a:r>
            <a:r>
              <a:rPr lang="ko-KR" altLang="en-US" sz="150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재개정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 및 안전관리 기준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新種 </a:t>
            </a:r>
            <a:r>
              <a:rPr lang="ko-KR" altLang="en-US" sz="1500" dirty="0">
                <a:latin typeface="휴먼명조" panose="02010504000101010101" pitchFamily="2" charset="-127"/>
                <a:ea typeface="휴먼명조" panose="02010504000101010101" pitchFamily="2" charset="-127"/>
              </a:rPr>
              <a:t>동물 및 가축질병과 전염성 질환의 공중보건과 식품안전에의 위해도 연구 및 </a:t>
            </a:r>
            <a:r>
              <a:rPr lang="ko-KR" altLang="en-US" sz="15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관리방안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4731649" y="2227303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6105728" y="25450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656456" y="5734500"/>
            <a:ext cx="83267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2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연구결과 中心」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실천적 노력 강화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례적</a:t>
            </a:r>
            <a:r>
              <a:rPr lang="en-US" altLang="ko-KR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2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체계적 보완 지속</a:t>
            </a:r>
            <a:endParaRPr lang="ko-KR" altLang="en-US" sz="22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" name="오른쪽 화살표 9"/>
          <p:cNvSpPr/>
          <p:nvPr/>
        </p:nvSpPr>
        <p:spPr>
          <a:xfrm>
            <a:off x="317323" y="589685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8753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7111" y="332656"/>
            <a:ext cx="8364527" cy="449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언론보도 관련 새로운 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음식문화」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 조성</a:t>
            </a:r>
            <a:endParaRPr lang="en-US" sz="29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2865" y="1052736"/>
            <a:ext cx="8580552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최근 동향 및 추세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TV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방송을 중심으로 음식관련 각종 프로그램 증가 추세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※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5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집밥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백선생」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삼시세끼」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냉장고를 부탁해」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「</a:t>
            </a:r>
            <a:r>
              <a:rPr lang="ko-KR" altLang="en-US" sz="15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요미식회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」 등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음식의 맛과 멋에 대한 국민적 관심 제고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반면 바람직한 음식문화의 정착방향 등 일부 혼란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관련 조치 및 검토 요구사항</a:t>
            </a:r>
            <a:endParaRPr lang="en-US" altLang="ko-KR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① 한류음식 붐 조성 이후 새로운 「한국형 음식문화」 형성의 계기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②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먹거리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x-file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등 「언론의 </a:t>
            </a:r>
            <a:r>
              <a:rPr lang="ko-KR" altLang="en-US" sz="16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적사항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 모니터 강화 및 현장점검 확인 후 관련조치 철저</a:t>
            </a:r>
            <a:endParaRPr lang="en-US" altLang="ko-KR" sz="16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③ 중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상류층 이외에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저변층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음식수요와 욕구도 포함하여 다양화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다변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④ 맛과 위생청결이 보장되는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먹방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쿡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Cook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방 정착 필요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3568" y="6068863"/>
            <a:ext cx="832677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100" dirty="0" err="1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필요시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 제도적 보완 및 예산지원 등 </a:t>
            </a:r>
            <a:r>
              <a:rPr lang="ko-KR" altLang="en-US" sz="2100" dirty="0" smtClean="0">
                <a:solidFill>
                  <a:srgbClr val="FF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종합적인 대책」 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수립</a:t>
            </a:r>
            <a:r>
              <a:rPr lang="en-US" altLang="ko-KR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1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추진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오른쪽 화살표 6"/>
          <p:cNvSpPr/>
          <p:nvPr/>
        </p:nvSpPr>
        <p:spPr>
          <a:xfrm>
            <a:off x="221431" y="6231222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C:\Users\assembly\Desktop\ad_000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9" y="5032450"/>
            <a:ext cx="1224136" cy="967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assembly\Desktop\ad_000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656" y="5168319"/>
            <a:ext cx="803816" cy="831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assembly\Desktop\ad_0000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7055" y="5162407"/>
            <a:ext cx="812110" cy="787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assembly\Desktop\ad_0000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5124507"/>
            <a:ext cx="1080119" cy="83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assembly\Desktop\ad_00004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979785"/>
            <a:ext cx="1051944" cy="102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914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1115616" y="3572833"/>
            <a:ext cx="6840760" cy="23637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55944" y="404664"/>
            <a:ext cx="836452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HACCP </a:t>
            </a:r>
            <a:r>
              <a:rPr lang="ko-KR" altLang="en-US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지정업소 </a:t>
            </a:r>
            <a:r>
              <a:rPr lang="en-US" altLang="ko-KR" sz="27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7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식품위생법 위반 지속 증가문제」</a:t>
            </a:r>
            <a:endParaRPr lang="en-US" sz="2700" spc="-15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4078" y="977076"/>
            <a:ext cx="858055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식품제조시설 위생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청결 안전기준 충족업체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HACCP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정제도 운영’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각종 인센티브 부여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국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HACCP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정업소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식품제조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생산과정의 위생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청결기준을 충족한 것’으로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인식</a:t>
            </a:r>
            <a:r>
              <a:rPr lang="en-US" altLang="ko-KR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뢰</a:t>
            </a:r>
            <a:endParaRPr lang="ko-KR" altLang="en-US" sz="1500" spc="-15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5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HACCP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지정업소 중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식품위해업소로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적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처분 받은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사례 지속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총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61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개소 위반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김치류</a:t>
            </a:r>
            <a:r>
              <a:rPr lang="en-US" altLang="ko-KR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spc="-15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고추가루</a:t>
            </a:r>
            <a:r>
              <a:rPr lang="ko-KR" altLang="en-US" sz="12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포함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19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19.4%),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냉동수산식품류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10.3%)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어묵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6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</a:t>
            </a:r>
            <a:r>
              <a:rPr lang="en-US" altLang="ko-KR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(10%)</a:t>
            </a:r>
            <a:r>
              <a:rPr lang="ko-KR" altLang="en-US" sz="1200" spc="-15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順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결론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사람’문제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위반사항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이물검출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표시기준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자가품질검사 </a:t>
            </a:r>
            <a:r>
              <a:rPr lang="ko-KR" altLang="en-US" sz="1500" spc="-150" dirty="0" err="1">
                <a:latin typeface="휴먼명조" panose="02010504000101010101" pitchFamily="2" charset="-127"/>
                <a:ea typeface="휴먼명조" panose="02010504000101010101" pitchFamily="2" charset="-127"/>
              </a:rPr>
              <a:t>不이행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위생적 취급기준 등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처벌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솜방망이’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6984881" y="114562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2479915" y="1481132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화살표 7"/>
          <p:cNvSpPr/>
          <p:nvPr/>
        </p:nvSpPr>
        <p:spPr>
          <a:xfrm>
            <a:off x="6984881" y="2420888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6440355" y="27635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746106" y="3093284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755576" y="6080748"/>
            <a:ext cx="82486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와 국민신뢰 저버리는</a:t>
            </a:r>
            <a:r>
              <a:rPr lang="ko-KR" altLang="en-US" sz="2000" spc="-150" dirty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HACCP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지정업소 위반 사항</a:t>
            </a:r>
            <a:r>
              <a:rPr lang="en-US" altLang="ko-KR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단속 및 </a:t>
            </a:r>
            <a:r>
              <a:rPr lang="en-US" altLang="ko-KR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ko-KR" altLang="en-US" sz="20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처벌 강화</a:t>
            </a:r>
            <a:endParaRPr lang="ko-KR" altLang="en-US" sz="2000" spc="-15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317323" y="6178671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차트 1"/>
          <p:cNvGraphicFramePr/>
          <p:nvPr>
            <p:extLst>
              <p:ext uri="{D42A27DB-BD31-4B8C-83A1-F6EECF244321}">
                <p14:modId xmlns:p14="http://schemas.microsoft.com/office/powerpoint/2010/main" val="1683633978"/>
              </p:ext>
            </p:extLst>
          </p:nvPr>
        </p:nvGraphicFramePr>
        <p:xfrm>
          <a:off x="1352673" y="4220905"/>
          <a:ext cx="6387679" cy="1666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직사각형 13"/>
          <p:cNvSpPr/>
          <p:nvPr/>
        </p:nvSpPr>
        <p:spPr>
          <a:xfrm>
            <a:off x="1939826" y="3712493"/>
            <a:ext cx="516632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식품위생법 </a:t>
            </a:r>
            <a:r>
              <a:rPr lang="ko-KR" altLang="en-US" sz="13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위반업체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중 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HACCP </a:t>
            </a:r>
            <a:r>
              <a:rPr lang="ko-KR" altLang="en-US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업체 현황</a:t>
            </a:r>
            <a:r>
              <a:rPr lang="en-US" altLang="ko-KR" sz="13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</a:t>
            </a:r>
            <a:endParaRPr lang="ko-KR" altLang="en-US" sz="13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7153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5944" y="693707"/>
            <a:ext cx="8364527" cy="449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정부차원의 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의료기기 관련」 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업무 체계화</a:t>
            </a:r>
            <a:endParaRPr lang="en-US" sz="2900" spc="-15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9919" y="1541915"/>
            <a:ext cx="8580552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현황 및 문제점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기기 관련 업무    </a:t>
            </a:r>
            <a:r>
              <a:rPr lang="ko-KR" altLang="en-US" sz="16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보건복지부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산업통상자원부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소기업청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미래창조과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학부 등 분산수행 중</a:t>
            </a:r>
            <a:endParaRPr lang="en-US" altLang="ko-KR" sz="1600" dirty="0" smtClean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① 각 부처간 개발된 기술의 제품화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안전성 평가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인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허가 단계에 대한 </a:t>
            </a:r>
            <a:r>
              <a:rPr lang="ko-KR" altLang="en-US" sz="15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他부처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500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식약처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복지부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와의 연계지원 부족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②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R&amp;D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원위주의 육성정책으로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비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R&amp;D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분야에 대한 상대적인 지원부족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민간의 자발적 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  R&amp;D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투자 부족 등의 문제 발생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HY견고딕" panose="02030600000101010101" pitchFamily="18" charset="-127"/>
                <a:ea typeface="HY견고딕" panose="02030600000101010101" pitchFamily="18" charset="-127"/>
              </a:rPr>
              <a:t>□ 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개선 및 보완대책</a:t>
            </a:r>
            <a:endParaRPr lang="en-US" altLang="ko-KR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기기산업 육성 및 안전관리 강화 위한 「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식약처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」의 역할 증대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기기 관련 통합지원체계 구축 위한 종합적인 전략수립 및 </a:t>
            </a:r>
            <a:r>
              <a:rPr lang="ko-KR" altLang="en-US" sz="1600" dirty="0" err="1" smtClean="0">
                <a:latin typeface="휴먼명조" panose="02010504000101010101" pitchFamily="2" charset="-127"/>
                <a:ea typeface="휴먼명조" panose="02010504000101010101" pitchFamily="2" charset="-127"/>
              </a:rPr>
              <a:t>법적근거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보완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의료기기산업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(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안전성 포함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)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에 대한 비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지원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강화 및 민간 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R&amp;D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투자유인 등 촉구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2560770" y="2216161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625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27951" y="349556"/>
            <a:ext cx="8364527" cy="449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의료기기</a:t>
            </a:r>
            <a:r>
              <a:rPr lang="en-US" altLang="ko-KR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2900" spc="-15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화장품 등의 </a:t>
            </a:r>
            <a:r>
              <a:rPr lang="ko-KR" altLang="en-US" sz="2900" spc="-15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해외진출 확대</a:t>
            </a:r>
            <a:endParaRPr lang="en-US" sz="2900" spc="-15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6571" y="957059"/>
            <a:ext cx="8580552" cy="3624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최근 동향 및 추세</a:t>
            </a:r>
            <a:endParaRPr lang="en-US" altLang="ko-KR" sz="1500" b="1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중국 정부의 보건의료 분야 투자 장려로 매년 평균 </a:t>
            </a: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18% </a:t>
            </a: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도 성장세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─ 의료기기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2014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對중국 의료기기 수출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2.5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$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입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.4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$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무역수지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.2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$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흑자기록</a:t>
            </a:r>
            <a:endParaRPr lang="en-US" altLang="ko-KR" sz="1500" dirty="0" smtClean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─ 화장품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: 2014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년 對중국 화장품 수출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.3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$, 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입 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1,600</a:t>
            </a:r>
            <a:r>
              <a:rPr lang="ko-KR" altLang="en-US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만</a:t>
            </a:r>
            <a:r>
              <a:rPr lang="en-US" altLang="ko-KR" sz="15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$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무역수지 </a:t>
            </a: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5.2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억</a:t>
            </a:r>
            <a:r>
              <a:rPr lang="en-US" altLang="ko-KR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$ </a:t>
            </a:r>
            <a:r>
              <a:rPr lang="ko-KR" altLang="en-US" sz="1500" spc="-15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흑자기록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한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중 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FTA</a:t>
            </a:r>
            <a:r>
              <a:rPr lang="ko-KR" altLang="en-US" sz="16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계기</a:t>
            </a:r>
            <a:r>
              <a:rPr lang="en-US" altLang="ko-KR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의료기기 화장품 등 </a:t>
            </a:r>
            <a:r>
              <a:rPr lang="ko-KR" altLang="en-US" sz="1600" dirty="0" err="1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신성장동력화</a:t>
            </a:r>
            <a:r>
              <a:rPr lang="ko-KR" altLang="en-US" sz="160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 추진 필요성</a:t>
            </a:r>
            <a:endParaRPr lang="en-US" altLang="ko-KR" sz="1600" dirty="0">
              <a:solidFill>
                <a:srgbClr val="C00000"/>
              </a:solidFill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□ 개선</a:t>
            </a:r>
            <a:r>
              <a:rPr lang="en-US" altLang="ko-KR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6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보완 대책</a:t>
            </a:r>
            <a:endParaRPr lang="en-US" altLang="ko-KR" sz="1600" dirty="0" smtClean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중국 등 해외진출 확대 위한 정부차원의 종합적인 추진대책 강구</a:t>
            </a:r>
            <a:endParaRPr lang="en-US" altLang="ko-KR" sz="160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방안 등 수요자 중심 다각적 모색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해외진출업체의 금융지원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정보제공</a:t>
            </a:r>
            <a:r>
              <a:rPr lang="en-US" altLang="ko-KR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6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현지 인허가 등 규제개선</a:t>
            </a:r>
          </a:p>
        </p:txBody>
      </p:sp>
      <p:sp>
        <p:nvSpPr>
          <p:cNvPr id="8" name="오른쪽 화살표 7"/>
          <p:cNvSpPr/>
          <p:nvPr/>
        </p:nvSpPr>
        <p:spPr>
          <a:xfrm>
            <a:off x="444748" y="268525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74" name="Picture 2" descr="C:\Users\assembly\Desktop\43_51_4035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063" y="4545545"/>
            <a:ext cx="3395813" cy="2399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assembly\Desktop\ad_00014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747" y="4842141"/>
            <a:ext cx="564584" cy="723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assembly\Desktop\ad_00013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2939" y="5949280"/>
            <a:ext cx="444392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72"/>
          <p:cNvCxnSpPr/>
          <p:nvPr>
            <p:custDataLst>
              <p:tags r:id="rId1"/>
            </p:custDataLst>
          </p:nvPr>
        </p:nvCxnSpPr>
        <p:spPr>
          <a:xfrm>
            <a:off x="3216192" y="5862388"/>
            <a:ext cx="648072" cy="461941"/>
          </a:xfrm>
          <a:prstGeom prst="line">
            <a:avLst/>
          </a:prstGeom>
          <a:ln w="3175">
            <a:solidFill>
              <a:srgbClr val="2A9B18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72"/>
          <p:cNvCxnSpPr/>
          <p:nvPr>
            <p:custDataLst>
              <p:tags r:id="rId2"/>
            </p:custDataLst>
          </p:nvPr>
        </p:nvCxnSpPr>
        <p:spPr>
          <a:xfrm>
            <a:off x="3864264" y="6324329"/>
            <a:ext cx="1428680" cy="0"/>
          </a:xfrm>
          <a:prstGeom prst="line">
            <a:avLst/>
          </a:prstGeom>
          <a:ln w="3175">
            <a:solidFill>
              <a:srgbClr val="2A9B18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37"/>
          <p:cNvCxnSpPr/>
          <p:nvPr>
            <p:custDataLst>
              <p:tags r:id="rId3"/>
            </p:custDataLst>
          </p:nvPr>
        </p:nvCxnSpPr>
        <p:spPr>
          <a:xfrm flipV="1">
            <a:off x="3216192" y="5388225"/>
            <a:ext cx="648072" cy="353961"/>
          </a:xfrm>
          <a:prstGeom prst="line">
            <a:avLst/>
          </a:prstGeom>
          <a:ln w="3175">
            <a:solidFill>
              <a:srgbClr val="F0B71F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7"/>
          <p:cNvCxnSpPr/>
          <p:nvPr>
            <p:custDataLst>
              <p:tags r:id="rId4"/>
            </p:custDataLst>
          </p:nvPr>
        </p:nvCxnSpPr>
        <p:spPr>
          <a:xfrm flipV="1">
            <a:off x="3864264" y="5388226"/>
            <a:ext cx="1428680" cy="1"/>
          </a:xfrm>
          <a:prstGeom prst="line">
            <a:avLst/>
          </a:prstGeom>
          <a:ln w="3175">
            <a:solidFill>
              <a:srgbClr val="F0B71F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999441" y="5195873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출</a:t>
            </a:r>
            <a:r>
              <a:rPr lang="ko-KR" altLang="en-US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2.5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$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999441" y="6052646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수출</a:t>
            </a:r>
            <a:r>
              <a:rPr lang="ko-KR" altLang="en-US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 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5.3</a:t>
            </a:r>
            <a:r>
              <a:rPr lang="ko-KR" altLang="en-US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억</a:t>
            </a:r>
            <a:r>
              <a:rPr lang="en-US" altLang="ko-KR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$</a:t>
            </a:r>
            <a:endParaRPr lang="ko-KR" altLang="en-US" dirty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7215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892082" y="4208146"/>
            <a:ext cx="4973947" cy="1681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84080" y="404663"/>
            <a:ext cx="841379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체중 조절 </a:t>
            </a:r>
            <a:r>
              <a:rPr lang="en-US" altLang="ko-KR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- 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다이어트기능식품 유통 및 위해 실태」 </a:t>
            </a:r>
            <a:r>
              <a:rPr lang="ko-KR" altLang="en-US" sz="24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진단</a:t>
            </a:r>
            <a:r>
              <a:rPr lang="ko-KR" altLang="en-US" sz="24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endParaRPr lang="en-US" sz="2400" dirty="0" smtClean="0">
              <a:solidFill>
                <a:srgbClr val="C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5478" y="1052113"/>
            <a:ext cx="8580552" cy="297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체중조절 ‘다이어트건강기능식품’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생산량 매년 증가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‘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,10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톤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13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4,422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톤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‘14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년 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5,428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톤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최근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년간 생산액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,008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억 원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판매액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조 원 시장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체중조절용 조제식품 포함</a:t>
            </a:r>
            <a:r>
              <a:rPr lang="en-US" altLang="ko-KR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en-US" altLang="ko-KR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1.5</a:t>
            </a:r>
            <a:r>
              <a:rPr lang="ko-KR" altLang="en-US" sz="150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조원 시장 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유통 다변화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정착단계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–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인터넷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36.2%, TV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홈쇼핑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7.6%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전문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7.1%,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대형할인점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12.6%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順</a:t>
            </a:r>
            <a:endParaRPr lang="en-US" altLang="ko-KR" sz="1500" spc="-150" dirty="0" smtClean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en-US" altLang="ko-KR" sz="1500" b="1" dirty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문 제 점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gt; - </a:t>
            </a:r>
            <a:r>
              <a:rPr lang="ko-KR" altLang="en-US" sz="1500" b="1" dirty="0" err="1" smtClean="0">
                <a:latin typeface="휴먼고딕" panose="02010504000101010101" pitchFamily="2" charset="-127"/>
                <a:ea typeface="휴먼고딕" panose="02010504000101010101" pitchFamily="2" charset="-127"/>
              </a:rPr>
              <a:t>他부처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기관과 협조 하에 체계적</a:t>
            </a:r>
            <a:r>
              <a:rPr lang="en-US" altLang="ko-KR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·</a:t>
            </a:r>
            <a:r>
              <a:rPr lang="ko-KR" altLang="en-US" sz="15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지속적인 대응 노력 미흡</a:t>
            </a:r>
            <a:endParaRPr lang="en-US" altLang="ko-KR" sz="15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endParaRPr lang="en-US" altLang="ko-KR" sz="50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○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온라인 쇼핑 및 해외직구 보편화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     </a:t>
            </a:r>
            <a:r>
              <a:rPr lang="ko-KR" altLang="en-US" sz="1500" spc="-150" dirty="0" smtClean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사용금지 </a:t>
            </a:r>
            <a:r>
              <a:rPr lang="ko-KR" altLang="en-US" sz="1500" spc="-150" dirty="0">
                <a:solidFill>
                  <a:srgbClr val="C00000"/>
                </a:solidFill>
                <a:latin typeface="휴먼명조" panose="02010504000101010101" pitchFamily="2" charset="-127"/>
                <a:ea typeface="휴먼명조" panose="02010504000101010101" pitchFamily="2" charset="-127"/>
              </a:rPr>
              <a:t>약품성분 함유제품 무분별 구입 및 유통 상황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온라인 판매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- 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학적으로 입증되지 않은 제품의 효능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효과 허위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·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과대광고 사례 빈번 발생</a:t>
            </a:r>
          </a:p>
          <a:p>
            <a:pPr fontAlgn="base">
              <a:lnSpc>
                <a:spcPct val="150000"/>
              </a:lnSpc>
            </a:pP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○ 한국소비자원 조사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(‘14)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 결과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, 14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해외직구제품 중 </a:t>
            </a:r>
            <a:r>
              <a:rPr lang="en-US" altLang="ko-KR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7</a:t>
            </a:r>
            <a:r>
              <a:rPr lang="ko-KR" altLang="en-US" sz="1500" spc="-150" dirty="0">
                <a:latin typeface="휴먼명조" panose="02010504000101010101" pitchFamily="2" charset="-127"/>
                <a:ea typeface="휴먼명조" panose="02010504000101010101" pitchFamily="2" charset="-127"/>
              </a:rPr>
              <a:t>개 제품에서 사용금지 의약품 성분 </a:t>
            </a:r>
            <a:r>
              <a:rPr lang="ko-KR" altLang="en-US" sz="1500" spc="-150" dirty="0" smtClean="0">
                <a:latin typeface="휴먼명조" panose="02010504000101010101" pitchFamily="2" charset="-127"/>
                <a:ea typeface="휴먼명조" panose="02010504000101010101" pitchFamily="2" charset="-127"/>
              </a:rPr>
              <a:t>검출 등</a:t>
            </a:r>
            <a:endParaRPr lang="ko-KR" altLang="en-US" sz="1500" spc="-150" dirty="0">
              <a:latin typeface="휴먼명조" panose="02010504000101010101" pitchFamily="2" charset="-127"/>
              <a:ea typeface="휴먼명조" panose="02010504000101010101" pitchFamily="2" charset="-127"/>
            </a:endParaRPr>
          </a:p>
        </p:txBody>
      </p:sp>
      <p:sp>
        <p:nvSpPr>
          <p:cNvPr id="6" name="오른쪽 화살표 5"/>
          <p:cNvSpPr/>
          <p:nvPr/>
        </p:nvSpPr>
        <p:spPr>
          <a:xfrm>
            <a:off x="5044211" y="123016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오른쪽 화살표 6"/>
          <p:cNvSpPr/>
          <p:nvPr/>
        </p:nvSpPr>
        <p:spPr>
          <a:xfrm>
            <a:off x="4616321" y="1552540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3301313" y="3064577"/>
            <a:ext cx="216024" cy="13022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895352" y="6099715"/>
            <a:ext cx="8248648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900" dirty="0" smtClean="0">
                <a:latin typeface="HY견고딕" panose="02030600000101010101" pitchFamily="18" charset="-127"/>
                <a:ea typeface="HY견고딕" panose="02030600000101010101" pitchFamily="18" charset="-127"/>
              </a:rPr>
              <a:t>온라인 및 해외직구 등 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「다이어트건강기능식품」 관리감독</a:t>
            </a:r>
            <a:r>
              <a:rPr lang="en-US" altLang="ko-KR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·</a:t>
            </a:r>
            <a:r>
              <a:rPr lang="ko-KR" altLang="en-US" sz="1900" dirty="0" smtClean="0">
                <a:solidFill>
                  <a:srgbClr val="C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처벌 강화 </a:t>
            </a:r>
            <a:endParaRPr lang="ko-KR" altLang="en-US" sz="19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" name="오른쪽 화살표 11"/>
          <p:cNvSpPr/>
          <p:nvPr/>
        </p:nvSpPr>
        <p:spPr>
          <a:xfrm>
            <a:off x="433744" y="6209179"/>
            <a:ext cx="339133" cy="31198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734070" y="4303081"/>
            <a:ext cx="5250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&lt;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다이어트식품 위해 관련 </a:t>
            </a:r>
            <a:r>
              <a:rPr lang="ko-KR" altLang="en-US" sz="1200" b="1" dirty="0" smtClean="0">
                <a:solidFill>
                  <a:srgbClr val="C00000"/>
                </a:solidFill>
                <a:latin typeface="휴먼고딕" panose="02010504000101010101" pitchFamily="2" charset="-127"/>
                <a:ea typeface="휴먼고딕" panose="02010504000101010101" pitchFamily="2" charset="-127"/>
              </a:rPr>
              <a:t>소비자상담센터 접수현황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(</a:t>
            </a:r>
            <a:r>
              <a:rPr lang="ko-KR" altLang="en-US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소비자보호원</a:t>
            </a:r>
            <a:r>
              <a:rPr lang="en-US" altLang="ko-KR" sz="1200" b="1" dirty="0" smtClean="0">
                <a:latin typeface="휴먼고딕" panose="02010504000101010101" pitchFamily="2" charset="-127"/>
                <a:ea typeface="휴먼고딕" panose="02010504000101010101" pitchFamily="2" charset="-127"/>
              </a:rPr>
              <a:t>)&gt;</a:t>
            </a:r>
            <a:endParaRPr lang="ko-KR" altLang="en-US" sz="1200" b="1" dirty="0">
              <a:latin typeface="휴먼고딕" panose="02010504000101010101" pitchFamily="2" charset="-127"/>
              <a:ea typeface="휴먼고딕" panose="02010504000101010101" pitchFamily="2" charset="-127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89" y="4207834"/>
            <a:ext cx="3207405" cy="168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차트 7"/>
          <p:cNvGraphicFramePr/>
          <p:nvPr>
            <p:extLst>
              <p:ext uri="{D42A27DB-BD31-4B8C-83A1-F6EECF244321}">
                <p14:modId xmlns:p14="http://schemas.microsoft.com/office/powerpoint/2010/main" val="3271776776"/>
              </p:ext>
            </p:extLst>
          </p:nvPr>
        </p:nvGraphicFramePr>
        <p:xfrm>
          <a:off x="4297478" y="4672537"/>
          <a:ext cx="4032448" cy="1216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18771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5</TotalTime>
  <Words>1812</Words>
  <Application>Microsoft Office PowerPoint</Application>
  <PresentationFormat>화면 슬라이드 쇼(4:3)</PresentationFormat>
  <Paragraphs>217</Paragraphs>
  <Slides>14</Slides>
  <Notes>8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15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sembly</dc:creator>
  <cp:lastModifiedBy>assembly</cp:lastModifiedBy>
  <cp:revision>135</cp:revision>
  <cp:lastPrinted>2015-09-12T08:43:49Z</cp:lastPrinted>
  <dcterms:created xsi:type="dcterms:W3CDTF">2015-09-02T12:15:03Z</dcterms:created>
  <dcterms:modified xsi:type="dcterms:W3CDTF">2015-09-13T11:16:31Z</dcterms:modified>
</cp:coreProperties>
</file>